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1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848341232227489"/>
          <c:y val="0.15220820189274448"/>
          <c:w val="0.36303317535545021"/>
          <c:h val="0.695583596214511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7B1-4602-878C-7AFE07497DE4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7B1-4602-878C-7AFE07497DE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.200000000000003</c:v>
                </c:pt>
                <c:pt idx="1">
                  <c:v>7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B1-4602-878C-7AFE07497D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20976160"/>
        <c:axId val="1"/>
      </c:barChart>
      <c:catAx>
        <c:axId val="320976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.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0976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09911744738628E-2"/>
          <c:y val="9.809911744738628E-2"/>
          <c:w val="0.80380176510522738"/>
          <c:h val="0.80380176510522738"/>
        </c:manualLayout>
      </c:layout>
      <c:doughnut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B40-4BD0-8ED3-F7852AE59827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B40-4BD0-8ED3-F7852AE59827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B40-4BD0-8ED3-F7852AE59827}"/>
              </c:ext>
            </c:extLst>
          </c:dPt>
          <c:dLbls>
            <c:dLbl>
              <c:idx val="0"/>
              <c:layout>
                <c:manualLayout>
                  <c:x val="1.9348268839103868E-2"/>
                  <c:y val="-1.697216564833672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B40-4BD0-8ED3-F7852AE59827}"/>
                </c:ext>
              </c:extLst>
            </c:dLbl>
            <c:dLbl>
              <c:idx val="1"/>
              <c:layout>
                <c:manualLayout>
                  <c:x val="-6.4494229463679569E-3"/>
                  <c:y val="4.00543109300746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B40-4BD0-8ED3-F7852AE59827}"/>
                </c:ext>
              </c:extLst>
            </c:dLbl>
            <c:dLbl>
              <c:idx val="2"/>
              <c:layout>
                <c:manualLayout>
                  <c:x val="-1.5614392396469789E-2"/>
                  <c:y val="-1.255940257976917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B40-4BD0-8ED3-F7852AE598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2.4</c:v>
                </c:pt>
                <c:pt idx="1">
                  <c:v>24</c:v>
                </c:pt>
                <c:pt idx="2">
                  <c:v>4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B40-4BD0-8ED3-F7852AE598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B0547-CADD-404F-B3F3-F55AA8500E1F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7B7F8A-5591-49DF-B8AC-53B0BC78D44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32863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3086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67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05175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96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6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7962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12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645635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oleObject" Target="../embeddings/oleObject5.bin"/><Relationship Id="rId3" Type="http://schemas.openxmlformats.org/officeDocument/2006/relationships/tags" Target="../tags/tag6.xml"/><Relationship Id="rId21" Type="http://schemas.openxmlformats.org/officeDocument/2006/relationships/chart" Target="../charts/chart2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6" Type="http://schemas.openxmlformats.org/officeDocument/2006/relationships/slideLayout" Target="../slideLayouts/slideLayout5.xml"/><Relationship Id="rId20" Type="http://schemas.openxmlformats.org/officeDocument/2006/relationships/chart" Target="../charts/chart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8" imgW="349" imgH="350" progId="TCLayout.ActiveDocument.1">
                  <p:embed/>
                </p:oleObj>
              </mc:Choice>
              <mc:Fallback>
                <p:oleObj name="think-cell 幻灯片" r:id="rId1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3214EC1C-3C08-9B52-49D0-EA9EF57C3F5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70430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, chart, charts, graph, graphs, percent, percentage, doughnut, doughnuts, donut, donuts, pies, percent, percentage, bar of pie, comment</a:t>
            </a: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A1849A66-C635-0B37-08A0-0FCEC6FBC72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9BCAE8BA-FA86-41CD-B099-E36DAAB8DFA7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568825" y="2894013"/>
          <a:ext cx="3349625" cy="201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78475" y="3443288"/>
            <a:ext cx="569913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14B2EB-6362-4966-8B92-18450C2C2DD1}" type="datetime'''''''''''2''7''.''''''''''2''''''''''''''''''''''''''''''%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7.2%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3A2058B-715C-94F0-2D6F-5DC2ABD8F6A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69125" y="3454400"/>
            <a:ext cx="709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654FF2-66BE-4920-B023-139DFF977218}" type="datetime'De''''''s''''''''k''to''''''''''p'''''''''''''''''''''''''''">
              <a:rPr kumimoji="0" lang="hu-H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sktop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5292A13-4F89-75DD-E422-2C0CD7B6DA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69125" y="4154488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FE2E83-41AA-4D2E-8336-84B447C8B579}" type="datetime'L''''''''a''p''''''''''''''''''''''''t''o''''p'''''''''''''''">
              <a:rPr kumimoji="0" lang="hu-H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Laptop</a:t>
            </a:fld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4BEC043C-FDB4-45D4-9BDB-9E0EC705CF9E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482600" y="1562100"/>
          <a:ext cx="4676775" cy="467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35F41DC-3EFF-6FBA-8FE8-0A80369C507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38713" y="37957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8A2D3FD-0B53-4B9D-8EE4-2D9C3266502D}" type="datetime'''''''''''''''''''''''P''''C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2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C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46CC0DE-2F2D-5006-BDC3-54AC9DF8ACE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65325" y="5781675"/>
            <a:ext cx="557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933138C-80DC-4E48-8AAB-38363876B6F6}" type="datetime'''T''''ab''''''''''''''''l''''et''''''''''''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2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ablet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7FD0978-C6AF-D3AE-95F3-3230C260E8E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84288" y="2041525"/>
            <a:ext cx="577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A92A10D-2B4D-4CFB-B388-CE5358BC06FB}" type="datetime'''''M''obi''''''''''l''''''''''''''''e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2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obile</a:t>
            </a:fld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EAA49B5-E0B4-D0F2-7B6A-417AF33DAE4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003674" y="2308225"/>
            <a:ext cx="16319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400F3DE-7010-235C-3055-95620D89048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635625" y="2308225"/>
            <a:ext cx="0" cy="8890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79CA09-A606-C76B-6C00-8F07721567F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3986213" y="5507038"/>
            <a:ext cx="1649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F3200DF-E1CC-7231-00E7-9EE2F55418F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5635625" y="4603750"/>
            <a:ext cx="0" cy="9032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0D3E4D7-0C14-581F-A927-FE715C27190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39975" y="3687763"/>
            <a:ext cx="96361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401EC18-E771-4609-9AD0-C37577B8F18D}" type="datetime'''''''''$''''''''''''''''2''50''''''''''''''.''''2'''''''''">
              <a:rPr kumimoji="0" lang="en-GB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2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$250.2</a:t>
            </a:fld>
            <a:endParaRPr kumimoji="0" lang="en-GB" alt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2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billion USD</a:t>
            </a:r>
          </a:p>
        </p:txBody>
      </p: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A68268B5-A331-FAB4-D29D-B7DB61630FEE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8BCD6D02-8C32-C056-9EC5-752B96F42FA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5220F547-AF24-1C60-CD6E-23CFEF9A4416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tc_columnheader">
            <a:extLst>
              <a:ext uri="{FF2B5EF4-FFF2-40B4-BE49-F238E27FC236}">
                <a16:creationId xmlns:a16="http://schemas.microsoft.com/office/drawing/2014/main" id="{54459D2B-06BB-ADAC-661D-D75FB0B326A2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7" name="tc_columnhead">
              <a:extLst>
                <a:ext uri="{FF2B5EF4-FFF2-40B4-BE49-F238E27FC236}">
                  <a16:creationId xmlns:a16="http://schemas.microsoft.com/office/drawing/2014/main" id="{02B655AB-C5E9-B983-4AB1-669C0BD3108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8" name="tc_columnheadline">
              <a:extLst>
                <a:ext uri="{FF2B5EF4-FFF2-40B4-BE49-F238E27FC236}">
                  <a16:creationId xmlns:a16="http://schemas.microsoft.com/office/drawing/2014/main" id="{853AC46F-523B-8225-F392-A2A9F9031C10}"/>
                </a:ext>
              </a:extLst>
            </p:cNvPr>
            <p:cNvCxnSpPr>
              <a:cxnSpLocks/>
              <a:stCxn id="17" idx="4"/>
              <a:endCxn id="1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18">
            <a:extLst>
              <a:ext uri="{FF2B5EF4-FFF2-40B4-BE49-F238E27FC236}">
                <a16:creationId xmlns:a16="http://schemas.microsoft.com/office/drawing/2014/main" id="{BBD54E7E-F9E4-59C7-9917-EF2F7B3A42F4}"/>
              </a:ext>
            </a:extLst>
          </p:cNvPr>
          <p:cNvSpPr>
            <a:spLocks/>
          </p:cNvSpPr>
          <p:nvPr/>
        </p:nvSpPr>
        <p:spPr>
          <a:xfrm>
            <a:off x="8811106" y="-1729323"/>
            <a:ext cx="4575600" cy="22886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doughnut chart and a bar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a bar of pie char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sert a doughnut chart. Pull out the slice you want to connect to the bar char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sert a stacked bar char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d universal connectors between the following:</a:t>
            </a:r>
          </a:p>
          <a:p>
            <a:pPr marL="361950" marR="0" lvl="1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p of the slice and top of the bar chart's axi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361950" marR="0" lvl="1" indent="-1841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Bottom of the slice and bottom of the bar chart's ax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create 90-degree lines between the doughnut and bar charts, drag the connectors' white handl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just the bar chart's labels as desired. For example, drag the category labels to the ends of the bars.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E57C40B-EF40-48D7-A87F-EF1382978792}"/>
              </a:ext>
            </a:extLst>
          </p:cNvPr>
          <p:cNvSpPr txBox="1"/>
          <p:nvPr/>
        </p:nvSpPr>
        <p:spPr>
          <a:xfrm>
            <a:off x="5186363" y="724254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1858322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5wdebDZplmBRgiPpuz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d4wm10BU11WOWAdhk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D79jAt2euzSm21dJFa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ZBiJvag48gCIu_YkeH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8R0vsgx3UT1RWKZGr0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C8MABUH4_pnQq8_zV9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MiNRcOrfp6HFlpumB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ZwiFtKqnUV_xJ7M1Yq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4Fqr4uKGzdNU346D1F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H7taUxMqZbOBHYGccQ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2vGpa_SlIqat0Lcky1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VwyzQdsM53ZTSypjoS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YJR8iIRbHjNZhdnvzJ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</Words>
  <Application>Microsoft Office PowerPoint</Application>
  <PresentationFormat>宽屏</PresentationFormat>
  <Paragraphs>2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16:40Z</dcterms:created>
  <dcterms:modified xsi:type="dcterms:W3CDTF">2025-09-10T07:17:32Z</dcterms:modified>
</cp:coreProperties>
</file>